
<file path=[Content_Types].xml><?xml version="1.0" encoding="utf-8"?>
<Types xmlns="http://schemas.openxmlformats.org/package/2006/content-types"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emf" ContentType="image/x-emf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6" r:id="rId2"/>
  </p:sldMasterIdLst>
  <p:notesMasterIdLst>
    <p:notesMasterId r:id="rId8"/>
  </p:notesMasterIdLst>
  <p:handoutMasterIdLst>
    <p:handoutMasterId r:id="rId9"/>
  </p:handoutMasterIdLst>
  <p:sldIdLst>
    <p:sldId id="812" r:id="rId3"/>
    <p:sldId id="834" r:id="rId4"/>
    <p:sldId id="836" r:id="rId5"/>
    <p:sldId id="837" r:id="rId6"/>
    <p:sldId id="838" r:id="rId7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F2987"/>
    <a:srgbClr val="13671D"/>
    <a:srgbClr val="1C982B"/>
    <a:srgbClr val="00269E"/>
    <a:srgbClr val="FF7C80"/>
    <a:srgbClr val="FF505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69" autoAdjust="0"/>
    <p:restoredTop sz="91304" autoAdjust="0"/>
  </p:normalViewPr>
  <p:slideViewPr>
    <p:cSldViewPr>
      <p:cViewPr varScale="1">
        <p:scale>
          <a:sx n="90" d="100"/>
          <a:sy n="90" d="100"/>
        </p:scale>
        <p:origin x="-1554" y="-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6227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9" y="1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42383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9" y="8842383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754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3" y="1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2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38" tIns="47070" rIns="94138" bIns="4707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33"/>
            <a:ext cx="5618480" cy="4189095"/>
          </a:xfrm>
          <a:prstGeom prst="rect">
            <a:avLst/>
          </a:prstGeom>
        </p:spPr>
        <p:txBody>
          <a:bodyPr vert="horz" lIns="94138" tIns="47070" rIns="94138" bIns="4707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9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3" y="8842039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81032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98825" y="869950"/>
            <a:ext cx="3151188" cy="236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73852" y="3362454"/>
            <a:ext cx="7797374" cy="275123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42027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98825" y="869950"/>
            <a:ext cx="3151188" cy="236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73852" y="3362454"/>
            <a:ext cx="7797374" cy="275123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57041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98825" y="869950"/>
            <a:ext cx="3151188" cy="236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73852" y="3362454"/>
            <a:ext cx="7797374" cy="275123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66327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25/2017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25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78946548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25/2017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220815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9316894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70318"/>
            <a:ext cx="7751547" cy="35144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915055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25/201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45828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70318"/>
            <a:ext cx="7751547" cy="35144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>
          <a:xfrm>
            <a:off x="7200900" y="6383338"/>
            <a:ext cx="1673225" cy="15557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13149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25/201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55841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25/201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5286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5/2017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25/2017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9/25/2017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399791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xmlns="" val="6758590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xmlns="" val="1278453373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309906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25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35562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9/25/2017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703" r:id="rId5"/>
    <p:sldLayoutId id="2147483704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25/2017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xmlns="" val="1971722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5" r:id="rId8"/>
    <p:sldLayoutId id="2147483696" r:id="rId9"/>
    <p:sldLayoutId id="2147483697" r:id="rId10"/>
    <p:sldLayoutId id="2147483698" r:id="rId1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M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000" dirty="0" smtClean="0"/>
              <a:t>September 25, 2017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Fiscal and Management Control Boar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270780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Rail Safety We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Chief Customer Experience Offic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/>
              <a:t>Capital Delivery/Procurement Acceleration Effor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2860601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85" y="1078992"/>
            <a:ext cx="8909915" cy="276999"/>
          </a:xfrm>
        </p:spPr>
        <p:txBody>
          <a:bodyPr/>
          <a:lstStyle/>
          <a:p>
            <a:r>
              <a:rPr lang="en-US" sz="3200" dirty="0" smtClean="0"/>
              <a:t>Rail Safety Week</a:t>
            </a:r>
            <a:endParaRPr lang="en-US" sz="3200" dirty="0"/>
          </a:p>
        </p:txBody>
      </p:sp>
      <p:sp>
        <p:nvSpPr>
          <p:cNvPr id="8" name="object 6"/>
          <p:cNvSpPr txBox="1"/>
          <p:nvPr/>
        </p:nvSpPr>
        <p:spPr>
          <a:xfrm>
            <a:off x="533400" y="1600200"/>
            <a:ext cx="7386320" cy="40626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e tracks?  Think train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nhance efforts to prevent and deter trespassing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ducation and awareness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afety first for our employees, customers, and general public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hanks to </a:t>
            </a:r>
            <a:r>
              <a:rPr lang="en-U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Keolis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 Operation Lifesaver, Samaritans, Volpe Center, and DPH</a:t>
            </a:r>
          </a:p>
        </p:txBody>
      </p:sp>
    </p:spTree>
    <p:extLst>
      <p:ext uri="{BB962C8B-B14F-4D97-AF65-F5344CB8AC3E}">
        <p14:creationId xmlns:p14="http://schemas.microsoft.com/office/powerpoint/2010/main" xmlns="" val="248973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85" y="1078992"/>
            <a:ext cx="8909915" cy="276999"/>
          </a:xfrm>
        </p:spPr>
        <p:txBody>
          <a:bodyPr/>
          <a:lstStyle/>
          <a:p>
            <a:r>
              <a:rPr lang="en-US" sz="3200" dirty="0" smtClean="0"/>
              <a:t>Chief Customer Experience Officer</a:t>
            </a:r>
            <a:endParaRPr lang="en-US" sz="3200" dirty="0"/>
          </a:p>
        </p:txBody>
      </p:sp>
      <p:sp>
        <p:nvSpPr>
          <p:cNvPr id="8" name="object 6"/>
          <p:cNvSpPr txBox="1"/>
          <p:nvPr/>
        </p:nvSpPr>
        <p:spPr>
          <a:xfrm>
            <a:off x="533400" y="1600200"/>
            <a:ext cx="7386320" cy="40626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Job will be posted today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nior-level position charged with working across all departments to implement improvement plan for all customers and all modes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uccessful candidate will be regular rider of MBTA system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ill ensure voices of customers are represented in policy and investment decisions</a:t>
            </a:r>
          </a:p>
        </p:txBody>
      </p:sp>
    </p:spTree>
    <p:extLst>
      <p:ext uri="{BB962C8B-B14F-4D97-AF65-F5344CB8AC3E}">
        <p14:creationId xmlns:p14="http://schemas.microsoft.com/office/powerpoint/2010/main" xmlns="" val="4217513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85" y="1078992"/>
            <a:ext cx="8909915" cy="276999"/>
          </a:xfrm>
        </p:spPr>
        <p:txBody>
          <a:bodyPr/>
          <a:lstStyle/>
          <a:p>
            <a:r>
              <a:rPr lang="en-US" sz="3200" dirty="0" smtClean="0"/>
              <a:t>Capital Delivery and Procurement</a:t>
            </a:r>
            <a:endParaRPr lang="en-US" sz="3200" dirty="0"/>
          </a:p>
        </p:txBody>
      </p:sp>
      <p:sp>
        <p:nvSpPr>
          <p:cNvPr id="8" name="object 6"/>
          <p:cNvSpPr txBox="1"/>
          <p:nvPr/>
        </p:nvSpPr>
        <p:spPr>
          <a:xfrm>
            <a:off x="533400" y="1600200"/>
            <a:ext cx="7386320" cy="40626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New, clear, simplified process to accelerate capital delivery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Using LEAN, analytics, and intellectual capital of both groups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Hone the MBTA’s focus on execution for both short- and long-term</a:t>
            </a: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5600" marR="508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osition the organization for success, delivering the best possible service for our customers</a:t>
            </a:r>
          </a:p>
        </p:txBody>
      </p:sp>
    </p:spTree>
    <p:extLst>
      <p:ext uri="{BB962C8B-B14F-4D97-AF65-F5344CB8AC3E}">
        <p14:creationId xmlns:p14="http://schemas.microsoft.com/office/powerpoint/2010/main" xmlns="" val="3849317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0633</TotalTime>
  <Words>165</Words>
  <Application>Microsoft Office PowerPoint</Application>
  <PresentationFormat>On-screen Show (4:3)</PresentationFormat>
  <Paragraphs>36</Paragraphs>
  <Slides>5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MBTA Default Template</vt:lpstr>
      <vt:lpstr>MBTATemplate</vt:lpstr>
      <vt:lpstr>GM Remarks</vt:lpstr>
      <vt:lpstr>Agenda </vt:lpstr>
      <vt:lpstr>Rail Safety Week</vt:lpstr>
      <vt:lpstr>Chief Customer Experience Officer</vt:lpstr>
      <vt:lpstr>Capital Delivery and Procur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Roundtable</dc:title>
  <dc:creator>Fuller, Mark</dc:creator>
  <cp:lastModifiedBy>cciampa</cp:lastModifiedBy>
  <cp:revision>945</cp:revision>
  <cp:lastPrinted>2017-07-28T20:01:43Z</cp:lastPrinted>
  <dcterms:created xsi:type="dcterms:W3CDTF">2016-05-02T13:07:16Z</dcterms:created>
  <dcterms:modified xsi:type="dcterms:W3CDTF">2017-09-25T10:24:52Z</dcterms:modified>
</cp:coreProperties>
</file>